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2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4.xml" ContentType="application/vnd.openxmlformats-officedocument.presentationml.notesSlid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notesSlides/notesSlide5.xml" ContentType="application/vnd.openxmlformats-officedocument.presentationml.notesSlid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notesSlides/notesSlide6.xml" ContentType="application/vnd.openxmlformats-officedocument.presentationml.notesSlide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7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8.xml" ContentType="application/vnd.openxmlformats-officedocument.presentationml.notesSl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notesSlides/notesSlide9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notesSlides/notesSlide10.xml" ContentType="application/vnd.openxmlformats-officedocument.presentationml.notesSlide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notesSlides/notesSlide11.xml" ContentType="application/vnd.openxmlformats-officedocument.presentationml.notesSlide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</p:sldMasterIdLst>
  <p:notesMasterIdLst>
    <p:notesMasterId r:id="rId15"/>
  </p:notesMasterIdLst>
  <p:sldIdLst>
    <p:sldId id="265" r:id="rId3"/>
    <p:sldId id="495" r:id="rId4"/>
    <p:sldId id="264" r:id="rId5"/>
    <p:sldId id="475" r:id="rId6"/>
    <p:sldId id="476" r:id="rId7"/>
    <p:sldId id="477" r:id="rId8"/>
    <p:sldId id="478" r:id="rId9"/>
    <p:sldId id="479" r:id="rId10"/>
    <p:sldId id="480" r:id="rId11"/>
    <p:sldId id="481" r:id="rId12"/>
    <p:sldId id="496" r:id="rId13"/>
    <p:sldId id="482" r:id="rId14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arly Marek" initials="CM" lastIdx="3" clrIdx="0">
    <p:extLst>
      <p:ext uri="{19B8F6BF-5375-455C-9EA6-DF929625EA0E}">
        <p15:presenceInfo xmlns:p15="http://schemas.microsoft.com/office/powerpoint/2012/main" userId="S::Carly.Marek@bgis.com::80d3de50-9a79-4c2a-9250-059360ed4fcf" providerId="AD"/>
      </p:ext>
    </p:extLst>
  </p:cmAuthor>
  <p:cmAuthor id="2" name="Carine Pare" initials="CP" lastIdx="8" clrIdx="1">
    <p:extLst>
      <p:ext uri="{19B8F6BF-5375-455C-9EA6-DF929625EA0E}">
        <p15:presenceInfo xmlns:p15="http://schemas.microsoft.com/office/powerpoint/2012/main" userId="S::Carine.Pare@tpsgc-pwgsc.gc.ca::71f88b2f-db4c-4269-9577-1025f7fc654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8CE75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195" autoAdjust="0"/>
    <p:restoredTop sz="96163" autoAdjust="0"/>
  </p:normalViewPr>
  <p:slideViewPr>
    <p:cSldViewPr snapToGrid="0">
      <p:cViewPr varScale="1">
        <p:scale>
          <a:sx n="114" d="100"/>
          <a:sy n="114" d="100"/>
        </p:scale>
        <p:origin x="804" y="10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2260" y="6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21" Type="http://schemas.microsoft.com/office/2016/11/relationships/changesInfo" Target="changesInfos/changesInfo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arina Ducasse" userId="75eba7c9-324b-4975-a33c-f867fc8840bf" providerId="ADAL" clId="{BD8F37E5-3F0E-4877-BABE-0593B6318BFF}"/>
    <pc:docChg chg="undo custSel modSld">
      <pc:chgData name="Karina Ducasse" userId="75eba7c9-324b-4975-a33c-f867fc8840bf" providerId="ADAL" clId="{BD8F37E5-3F0E-4877-BABE-0593B6318BFF}" dt="2022-06-30T16:59:42.402" v="96" actId="20577"/>
      <pc:docMkLst>
        <pc:docMk/>
      </pc:docMkLst>
      <pc:sldChg chg="modSp mod">
        <pc:chgData name="Karina Ducasse" userId="75eba7c9-324b-4975-a33c-f867fc8840bf" providerId="ADAL" clId="{BD8F37E5-3F0E-4877-BABE-0593B6318BFF}" dt="2022-06-30T16:49:16.761" v="43"/>
        <pc:sldMkLst>
          <pc:docMk/>
          <pc:sldMk cId="2739990261" sldId="264"/>
        </pc:sldMkLst>
        <pc:spChg chg="mod replST">
          <ac:chgData name="Karina Ducasse" userId="75eba7c9-324b-4975-a33c-f867fc8840bf" providerId="ADAL" clId="{BD8F37E5-3F0E-4877-BABE-0593B6318BFF}" dt="2022-06-30T16:49:16.759" v="42"/>
          <ac:spMkLst>
            <pc:docMk/>
            <pc:sldMk cId="2739990261" sldId="264"/>
            <ac:spMk id="6" creationId="{9F520F1B-A1D0-4CB3-A800-026E199C7D3E}"/>
          </ac:spMkLst>
        </pc:spChg>
        <pc:picChg chg="replST">
          <ac:chgData name="Karina Ducasse" userId="75eba7c9-324b-4975-a33c-f867fc8840bf" providerId="ADAL" clId="{BD8F37E5-3F0E-4877-BABE-0593B6318BFF}" dt="2022-06-30T16:49:16.761" v="43"/>
          <ac:picMkLst>
            <pc:docMk/>
            <pc:sldMk cId="2739990261" sldId="264"/>
            <ac:picMk id="7" creationId="{78BED60D-45DA-41D2-8936-C2BA4C8E1078}"/>
          </ac:picMkLst>
        </pc:picChg>
      </pc:sldChg>
      <pc:sldChg chg="modSp mod">
        <pc:chgData name="Karina Ducasse" userId="75eba7c9-324b-4975-a33c-f867fc8840bf" providerId="ADAL" clId="{BD8F37E5-3F0E-4877-BABE-0593B6318BFF}" dt="2022-06-30T16:49:16.748" v="38"/>
        <pc:sldMkLst>
          <pc:docMk/>
          <pc:sldMk cId="623683051" sldId="265"/>
        </pc:sldMkLst>
        <pc:spChg chg="mod replST">
          <ac:chgData name="Karina Ducasse" userId="75eba7c9-324b-4975-a33c-f867fc8840bf" providerId="ADAL" clId="{BD8F37E5-3F0E-4877-BABE-0593B6318BFF}" dt="2022-06-30T16:49:16.742" v="35"/>
          <ac:spMkLst>
            <pc:docMk/>
            <pc:sldMk cId="623683051" sldId="265"/>
            <ac:spMk id="2" creationId="{00000000-0000-0000-0000-000000000000}"/>
          </ac:spMkLst>
        </pc:spChg>
        <pc:spChg chg="replST">
          <ac:chgData name="Karina Ducasse" userId="75eba7c9-324b-4975-a33c-f867fc8840bf" providerId="ADAL" clId="{BD8F37E5-3F0E-4877-BABE-0593B6318BFF}" dt="2022-06-30T16:49:16.730" v="34"/>
          <ac:spMkLst>
            <pc:docMk/>
            <pc:sldMk cId="623683051" sldId="265"/>
            <ac:spMk id="4" creationId="{BF7B4991-5680-496C-9BA2-923177F4C6DE}"/>
          </ac:spMkLst>
        </pc:spChg>
        <pc:graphicFrameChg chg="replST">
          <ac:chgData name="Karina Ducasse" userId="75eba7c9-324b-4975-a33c-f867fc8840bf" providerId="ADAL" clId="{BD8F37E5-3F0E-4877-BABE-0593B6318BFF}" dt="2022-06-30T16:49:16.748" v="38"/>
          <ac:graphicFrameMkLst>
            <pc:docMk/>
            <pc:sldMk cId="623683051" sldId="265"/>
            <ac:graphicFrameMk id="8" creationId="{C93DBE18-8F20-40EE-8C64-637065DB2184}"/>
          </ac:graphicFrameMkLst>
        </pc:graphicFrameChg>
        <pc:picChg chg="replST">
          <ac:chgData name="Karina Ducasse" userId="75eba7c9-324b-4975-a33c-f867fc8840bf" providerId="ADAL" clId="{BD8F37E5-3F0E-4877-BABE-0593B6318BFF}" dt="2022-06-30T16:49:16.744" v="36"/>
          <ac:picMkLst>
            <pc:docMk/>
            <pc:sldMk cId="623683051" sldId="265"/>
            <ac:picMk id="5" creationId="{175411B1-04C0-4254-9690-4D0A9812D458}"/>
          </ac:picMkLst>
        </pc:picChg>
        <pc:picChg chg="replST">
          <ac:chgData name="Karina Ducasse" userId="75eba7c9-324b-4975-a33c-f867fc8840bf" providerId="ADAL" clId="{BD8F37E5-3F0E-4877-BABE-0593B6318BFF}" dt="2022-06-30T16:49:16.746" v="37"/>
          <ac:picMkLst>
            <pc:docMk/>
            <pc:sldMk cId="623683051" sldId="265"/>
            <ac:picMk id="7" creationId="{B00D8FBA-BD9E-4E13-A0AD-B19456A6370C}"/>
          </ac:picMkLst>
        </pc:picChg>
      </pc:sldChg>
      <pc:sldChg chg="modSp mod">
        <pc:chgData name="Karina Ducasse" userId="75eba7c9-324b-4975-a33c-f867fc8840bf" providerId="ADAL" clId="{BD8F37E5-3F0E-4877-BABE-0593B6318BFF}" dt="2022-06-30T16:49:16.766" v="45"/>
        <pc:sldMkLst>
          <pc:docMk/>
          <pc:sldMk cId="2269596831" sldId="475"/>
        </pc:sldMkLst>
        <pc:spChg chg="mod replST">
          <ac:chgData name="Karina Ducasse" userId="75eba7c9-324b-4975-a33c-f867fc8840bf" providerId="ADAL" clId="{BD8F37E5-3F0E-4877-BABE-0593B6318BFF}" dt="2022-06-30T16:49:16.764" v="44"/>
          <ac:spMkLst>
            <pc:docMk/>
            <pc:sldMk cId="2269596831" sldId="475"/>
            <ac:spMk id="6" creationId="{9F520F1B-A1D0-4CB3-A800-026E199C7D3E}"/>
          </ac:spMkLst>
        </pc:spChg>
        <pc:picChg chg="replST">
          <ac:chgData name="Karina Ducasse" userId="75eba7c9-324b-4975-a33c-f867fc8840bf" providerId="ADAL" clId="{BD8F37E5-3F0E-4877-BABE-0593B6318BFF}" dt="2022-06-30T16:49:16.766" v="45"/>
          <ac:picMkLst>
            <pc:docMk/>
            <pc:sldMk cId="2269596831" sldId="475"/>
            <ac:picMk id="7" creationId="{78BED60D-45DA-41D2-8936-C2BA4C8E1078}"/>
          </ac:picMkLst>
        </pc:picChg>
      </pc:sldChg>
      <pc:sldChg chg="modSp mod">
        <pc:chgData name="Karina Ducasse" userId="75eba7c9-324b-4975-a33c-f867fc8840bf" providerId="ADAL" clId="{BD8F37E5-3F0E-4877-BABE-0593B6318BFF}" dt="2022-06-30T16:49:16.769" v="47"/>
        <pc:sldMkLst>
          <pc:docMk/>
          <pc:sldMk cId="3460747388" sldId="476"/>
        </pc:sldMkLst>
        <pc:spChg chg="mod replST">
          <ac:chgData name="Karina Ducasse" userId="75eba7c9-324b-4975-a33c-f867fc8840bf" providerId="ADAL" clId="{BD8F37E5-3F0E-4877-BABE-0593B6318BFF}" dt="2022-06-30T16:49:16.768" v="46"/>
          <ac:spMkLst>
            <pc:docMk/>
            <pc:sldMk cId="3460747388" sldId="476"/>
            <ac:spMk id="6" creationId="{9F520F1B-A1D0-4CB3-A800-026E199C7D3E}"/>
          </ac:spMkLst>
        </pc:spChg>
        <pc:picChg chg="replST">
          <ac:chgData name="Karina Ducasse" userId="75eba7c9-324b-4975-a33c-f867fc8840bf" providerId="ADAL" clId="{BD8F37E5-3F0E-4877-BABE-0593B6318BFF}" dt="2022-06-30T16:49:16.769" v="47"/>
          <ac:picMkLst>
            <pc:docMk/>
            <pc:sldMk cId="3460747388" sldId="476"/>
            <ac:picMk id="7" creationId="{78BED60D-45DA-41D2-8936-C2BA4C8E1078}"/>
          </ac:picMkLst>
        </pc:picChg>
      </pc:sldChg>
      <pc:sldChg chg="modSp mod">
        <pc:chgData name="Karina Ducasse" userId="75eba7c9-324b-4975-a33c-f867fc8840bf" providerId="ADAL" clId="{BD8F37E5-3F0E-4877-BABE-0593B6318BFF}" dt="2022-06-30T16:49:16.773" v="49"/>
        <pc:sldMkLst>
          <pc:docMk/>
          <pc:sldMk cId="1198301545" sldId="477"/>
        </pc:sldMkLst>
        <pc:spChg chg="mod replST">
          <ac:chgData name="Karina Ducasse" userId="75eba7c9-324b-4975-a33c-f867fc8840bf" providerId="ADAL" clId="{BD8F37E5-3F0E-4877-BABE-0593B6318BFF}" dt="2022-06-30T16:49:16.771" v="48"/>
          <ac:spMkLst>
            <pc:docMk/>
            <pc:sldMk cId="1198301545" sldId="477"/>
            <ac:spMk id="6" creationId="{9F520F1B-A1D0-4CB3-A800-026E199C7D3E}"/>
          </ac:spMkLst>
        </pc:spChg>
        <pc:picChg chg="replST">
          <ac:chgData name="Karina Ducasse" userId="75eba7c9-324b-4975-a33c-f867fc8840bf" providerId="ADAL" clId="{BD8F37E5-3F0E-4877-BABE-0593B6318BFF}" dt="2022-06-30T16:49:16.773" v="49"/>
          <ac:picMkLst>
            <pc:docMk/>
            <pc:sldMk cId="1198301545" sldId="477"/>
            <ac:picMk id="7" creationId="{78BED60D-45DA-41D2-8936-C2BA4C8E1078}"/>
          </ac:picMkLst>
        </pc:picChg>
      </pc:sldChg>
      <pc:sldChg chg="modSp mod">
        <pc:chgData name="Karina Ducasse" userId="75eba7c9-324b-4975-a33c-f867fc8840bf" providerId="ADAL" clId="{BD8F37E5-3F0E-4877-BABE-0593B6318BFF}" dt="2022-06-30T16:49:16.776" v="51"/>
        <pc:sldMkLst>
          <pc:docMk/>
          <pc:sldMk cId="3644322487" sldId="478"/>
        </pc:sldMkLst>
        <pc:spChg chg="replST">
          <ac:chgData name="Karina Ducasse" userId="75eba7c9-324b-4975-a33c-f867fc8840bf" providerId="ADAL" clId="{BD8F37E5-3F0E-4877-BABE-0593B6318BFF}" dt="2022-06-30T16:49:16.775" v="50"/>
          <ac:spMkLst>
            <pc:docMk/>
            <pc:sldMk cId="3644322487" sldId="478"/>
            <ac:spMk id="6" creationId="{9F520F1B-A1D0-4CB3-A800-026E199C7D3E}"/>
          </ac:spMkLst>
        </pc:spChg>
        <pc:picChg chg="replST">
          <ac:chgData name="Karina Ducasse" userId="75eba7c9-324b-4975-a33c-f867fc8840bf" providerId="ADAL" clId="{BD8F37E5-3F0E-4877-BABE-0593B6318BFF}" dt="2022-06-30T16:49:16.776" v="51"/>
          <ac:picMkLst>
            <pc:docMk/>
            <pc:sldMk cId="3644322487" sldId="478"/>
            <ac:picMk id="7" creationId="{78BED60D-45DA-41D2-8936-C2BA4C8E1078}"/>
          </ac:picMkLst>
        </pc:picChg>
      </pc:sldChg>
      <pc:sldChg chg="modSp mod">
        <pc:chgData name="Karina Ducasse" userId="75eba7c9-324b-4975-a33c-f867fc8840bf" providerId="ADAL" clId="{BD8F37E5-3F0E-4877-BABE-0593B6318BFF}" dt="2022-06-30T16:49:44.862" v="62" actId="20577"/>
        <pc:sldMkLst>
          <pc:docMk/>
          <pc:sldMk cId="888241772" sldId="479"/>
        </pc:sldMkLst>
        <pc:spChg chg="mod replST">
          <ac:chgData name="Karina Ducasse" userId="75eba7c9-324b-4975-a33c-f867fc8840bf" providerId="ADAL" clId="{BD8F37E5-3F0E-4877-BABE-0593B6318BFF}" dt="2022-06-30T16:49:44.862" v="62" actId="20577"/>
          <ac:spMkLst>
            <pc:docMk/>
            <pc:sldMk cId="888241772" sldId="479"/>
            <ac:spMk id="6" creationId="{9F520F1B-A1D0-4CB3-A800-026E199C7D3E}"/>
          </ac:spMkLst>
        </pc:spChg>
        <pc:picChg chg="replST">
          <ac:chgData name="Karina Ducasse" userId="75eba7c9-324b-4975-a33c-f867fc8840bf" providerId="ADAL" clId="{BD8F37E5-3F0E-4877-BABE-0593B6318BFF}" dt="2022-06-30T16:49:16.780" v="53"/>
          <ac:picMkLst>
            <pc:docMk/>
            <pc:sldMk cId="888241772" sldId="479"/>
            <ac:picMk id="7" creationId="{78BED60D-45DA-41D2-8936-C2BA4C8E1078}"/>
          </ac:picMkLst>
        </pc:picChg>
      </pc:sldChg>
      <pc:sldChg chg="modSp mod">
        <pc:chgData name="Karina Ducasse" userId="75eba7c9-324b-4975-a33c-f867fc8840bf" providerId="ADAL" clId="{BD8F37E5-3F0E-4877-BABE-0593B6318BFF}" dt="2022-06-30T16:49:16.785" v="55"/>
        <pc:sldMkLst>
          <pc:docMk/>
          <pc:sldMk cId="1577556842" sldId="480"/>
        </pc:sldMkLst>
        <pc:spChg chg="mod replST">
          <ac:chgData name="Karina Ducasse" userId="75eba7c9-324b-4975-a33c-f867fc8840bf" providerId="ADAL" clId="{BD8F37E5-3F0E-4877-BABE-0593B6318BFF}" dt="2022-06-30T16:49:16.783" v="54"/>
          <ac:spMkLst>
            <pc:docMk/>
            <pc:sldMk cId="1577556842" sldId="480"/>
            <ac:spMk id="6" creationId="{9F520F1B-A1D0-4CB3-A800-026E199C7D3E}"/>
          </ac:spMkLst>
        </pc:spChg>
        <pc:picChg chg="replST">
          <ac:chgData name="Karina Ducasse" userId="75eba7c9-324b-4975-a33c-f867fc8840bf" providerId="ADAL" clId="{BD8F37E5-3F0E-4877-BABE-0593B6318BFF}" dt="2022-06-30T16:49:16.785" v="55"/>
          <ac:picMkLst>
            <pc:docMk/>
            <pc:sldMk cId="1577556842" sldId="480"/>
            <ac:picMk id="7" creationId="{78BED60D-45DA-41D2-8936-C2BA4C8E1078}"/>
          </ac:picMkLst>
        </pc:picChg>
      </pc:sldChg>
      <pc:sldChg chg="modSp mod">
        <pc:chgData name="Karina Ducasse" userId="75eba7c9-324b-4975-a33c-f867fc8840bf" providerId="ADAL" clId="{BD8F37E5-3F0E-4877-BABE-0593B6318BFF}" dt="2022-06-30T16:59:42.402" v="96" actId="20577"/>
        <pc:sldMkLst>
          <pc:docMk/>
          <pc:sldMk cId="3096160268" sldId="481"/>
        </pc:sldMkLst>
        <pc:spChg chg="mod replST">
          <ac:chgData name="Karina Ducasse" userId="75eba7c9-324b-4975-a33c-f867fc8840bf" providerId="ADAL" clId="{BD8F37E5-3F0E-4877-BABE-0593B6318BFF}" dt="2022-06-30T16:59:42.402" v="96" actId="20577"/>
          <ac:spMkLst>
            <pc:docMk/>
            <pc:sldMk cId="3096160268" sldId="481"/>
            <ac:spMk id="6" creationId="{9F520F1B-A1D0-4CB3-A800-026E199C7D3E}"/>
          </ac:spMkLst>
        </pc:spChg>
        <pc:picChg chg="replST">
          <ac:chgData name="Karina Ducasse" userId="75eba7c9-324b-4975-a33c-f867fc8840bf" providerId="ADAL" clId="{BD8F37E5-3F0E-4877-BABE-0593B6318BFF}" dt="2022-06-30T16:49:16.788" v="57"/>
          <ac:picMkLst>
            <pc:docMk/>
            <pc:sldMk cId="3096160268" sldId="481"/>
            <ac:picMk id="7" creationId="{78BED60D-45DA-41D2-8936-C2BA4C8E1078}"/>
          </ac:picMkLst>
        </pc:picChg>
      </pc:sldChg>
      <pc:sldChg chg="modSp mod">
        <pc:chgData name="Karina Ducasse" userId="75eba7c9-324b-4975-a33c-f867fc8840bf" providerId="ADAL" clId="{BD8F37E5-3F0E-4877-BABE-0593B6318BFF}" dt="2022-06-30T16:49:16.796" v="61"/>
        <pc:sldMkLst>
          <pc:docMk/>
          <pc:sldMk cId="4204833532" sldId="482"/>
        </pc:sldMkLst>
        <pc:spChg chg="replST">
          <ac:chgData name="Karina Ducasse" userId="75eba7c9-324b-4975-a33c-f867fc8840bf" providerId="ADAL" clId="{BD8F37E5-3F0E-4877-BABE-0593B6318BFF}" dt="2022-06-30T16:49:16.794" v="60"/>
          <ac:spMkLst>
            <pc:docMk/>
            <pc:sldMk cId="4204833532" sldId="482"/>
            <ac:spMk id="6" creationId="{9F520F1B-A1D0-4CB3-A800-026E199C7D3E}"/>
          </ac:spMkLst>
        </pc:spChg>
        <pc:picChg chg="replST">
          <ac:chgData name="Karina Ducasse" userId="75eba7c9-324b-4975-a33c-f867fc8840bf" providerId="ADAL" clId="{BD8F37E5-3F0E-4877-BABE-0593B6318BFF}" dt="2022-06-30T16:49:16.796" v="61"/>
          <ac:picMkLst>
            <pc:docMk/>
            <pc:sldMk cId="4204833532" sldId="482"/>
            <ac:picMk id="7" creationId="{78BED60D-45DA-41D2-8936-C2BA4C8E1078}"/>
          </ac:picMkLst>
        </pc:picChg>
      </pc:sldChg>
      <pc:sldChg chg="modSp mod">
        <pc:chgData name="Karina Ducasse" userId="75eba7c9-324b-4975-a33c-f867fc8840bf" providerId="ADAL" clId="{BD8F37E5-3F0E-4877-BABE-0593B6318BFF}" dt="2022-06-30T16:49:16.757" v="41"/>
        <pc:sldMkLst>
          <pc:docMk/>
          <pc:sldMk cId="1566787646" sldId="495"/>
        </pc:sldMkLst>
        <pc:spChg chg="mod replST">
          <ac:chgData name="Karina Ducasse" userId="75eba7c9-324b-4975-a33c-f867fc8840bf" providerId="ADAL" clId="{BD8F37E5-3F0E-4877-BABE-0593B6318BFF}" dt="2022-06-30T16:49:16.753" v="39"/>
          <ac:spMkLst>
            <pc:docMk/>
            <pc:sldMk cId="1566787646" sldId="495"/>
            <ac:spMk id="6" creationId="{9F520F1B-A1D0-4CB3-A800-026E199C7D3E}"/>
          </ac:spMkLst>
        </pc:spChg>
        <pc:spChg chg="replST">
          <ac:chgData name="Karina Ducasse" userId="75eba7c9-324b-4975-a33c-f867fc8840bf" providerId="ADAL" clId="{BD8F37E5-3F0E-4877-BABE-0593B6318BFF}" dt="2022-06-30T16:49:16.755" v="40"/>
          <ac:spMkLst>
            <pc:docMk/>
            <pc:sldMk cId="1566787646" sldId="495"/>
            <ac:spMk id="10" creationId="{FC45DDE6-FF04-4CDF-BBD0-3E300353385A}"/>
          </ac:spMkLst>
        </pc:spChg>
        <pc:picChg chg="mod replST">
          <ac:chgData name="Karina Ducasse" userId="75eba7c9-324b-4975-a33c-f867fc8840bf" providerId="ADAL" clId="{BD8F37E5-3F0E-4877-BABE-0593B6318BFF}" dt="2022-06-30T16:49:16.757" v="41"/>
          <ac:picMkLst>
            <pc:docMk/>
            <pc:sldMk cId="1566787646" sldId="495"/>
            <ac:picMk id="9" creationId="{7C2CAD73-DBCE-45ED-BA27-56AA3F0E1E51}"/>
          </ac:picMkLst>
        </pc:picChg>
      </pc:sldChg>
      <pc:sldChg chg="modSp mod">
        <pc:chgData name="Karina Ducasse" userId="75eba7c9-324b-4975-a33c-f867fc8840bf" providerId="ADAL" clId="{BD8F37E5-3F0E-4877-BABE-0593B6318BFF}" dt="2022-06-30T16:49:16.792" v="59"/>
        <pc:sldMkLst>
          <pc:docMk/>
          <pc:sldMk cId="2329204164" sldId="496"/>
        </pc:sldMkLst>
        <pc:spChg chg="replST">
          <ac:chgData name="Karina Ducasse" userId="75eba7c9-324b-4975-a33c-f867fc8840bf" providerId="ADAL" clId="{BD8F37E5-3F0E-4877-BABE-0593B6318BFF}" dt="2022-06-30T16:49:16.790" v="58"/>
          <ac:spMkLst>
            <pc:docMk/>
            <pc:sldMk cId="2329204164" sldId="496"/>
            <ac:spMk id="6" creationId="{9F520F1B-A1D0-4CB3-A800-026E199C7D3E}"/>
          </ac:spMkLst>
        </pc:spChg>
        <pc:picChg chg="replST">
          <ac:chgData name="Karina Ducasse" userId="75eba7c9-324b-4975-a33c-f867fc8840bf" providerId="ADAL" clId="{BD8F37E5-3F0E-4877-BABE-0593B6318BFF}" dt="2022-06-30T16:49:16.792" v="59"/>
          <ac:picMkLst>
            <pc:docMk/>
            <pc:sldMk cId="2329204164" sldId="496"/>
            <ac:picMk id="7" creationId="{78BED60D-45DA-41D2-8936-C2BA4C8E1078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47754B-DBB1-42E7-94DA-0F9CA7FD7F05}" type="datetimeFigureOut">
              <a:rPr lang="en-US" smtClean="0"/>
              <a:t>7/11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C6718E7-4186-453C-A82F-0673DEC0A24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539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0C6718E7-4186-453C-A82F-0673DEC0A245}" type="slidenum">
              <a:rPr/>
              <a:t>1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443144922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426041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30138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383605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0C6718E7-4186-453C-A82F-0673DEC0A245}" type="slidenum">
              <a:rPr/>
              <a:t>2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2106382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0C6718E7-4186-453C-A82F-0673DEC0A245}" type="slidenum">
              <a:rPr/>
              <a:t>3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3715352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66544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692488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9508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9233814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C6718E7-4186-453C-A82F-0673DEC0A245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320719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c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algn="l" rtl="0"/>
            <a:fld id="{0C6718E7-4186-453C-A82F-0673DEC0A245}" type="slidenum">
              <a:rPr/>
              <a:t>9</a:t>
            </a:fld>
            <a:endParaRPr lang="fr-ca"/>
          </a:p>
        </p:txBody>
      </p:sp>
    </p:spTree>
    <p:extLst>
      <p:ext uri="{BB962C8B-B14F-4D97-AF65-F5344CB8AC3E}">
        <p14:creationId xmlns:p14="http://schemas.microsoft.com/office/powerpoint/2010/main" val="33555481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46321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3529698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333705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818603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87295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43265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749883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447866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454008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853999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74014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462224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791743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366708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252386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85798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78590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9307436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44770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1646C-BC13-433C-AAF5-CDA9E1C7E476}" type="datetimeFigureOut">
              <a:rPr lang="en-US" smtClean="0"/>
              <a:t>7/11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94DA4-2137-4C1A-8AEE-43812BE2A8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944942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D1646C-BC13-433C-AAF5-CDA9E1C7E476}" type="datetimeFigureOut">
              <a:rPr lang="en-US" smtClean="0"/>
              <a:t>7/11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A294DA4-2137-4C1A-8AEE-43812BE2A85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40825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109851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654224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88583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5DBF2B2-6E29-804D-BBC2-9BEE5015365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45306" y="2379518"/>
            <a:ext cx="11101387" cy="1295400"/>
          </a:xfrm>
        </p:spPr>
        <p:txBody>
          <a:bodyPr anchor="b">
            <a:normAutofit/>
          </a:bodyPr>
          <a:lstStyle>
            <a:lvl1pPr algn="l">
              <a:lnSpc>
                <a:spcPct val="100000"/>
              </a:lnSpc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2033543-1E3F-E44E-9B20-569E29D9DE8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45307" y="3816351"/>
            <a:ext cx="3502586" cy="678352"/>
          </a:xfrm>
        </p:spPr>
        <p:txBody>
          <a:bodyPr>
            <a:normAutofit/>
          </a:bodyPr>
          <a:lstStyle>
            <a:lvl1pPr marL="0" indent="0" algn="l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AECE7A44-3E45-CD44-B3AE-5AEBA351C8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4513" y="4335679"/>
            <a:ext cx="3494087" cy="526957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900"/>
            </a:lvl2pPr>
            <a:lvl3pPr marL="914400" indent="0">
              <a:buNone/>
              <a:defRPr sz="800"/>
            </a:lvl3pPr>
            <a:lvl4pPr marL="1371600" indent="0">
              <a:buNone/>
              <a:defRPr sz="700"/>
            </a:lvl4pPr>
            <a:lvl5pPr marL="1828800" indent="0">
              <a:buNone/>
              <a:defRPr sz="700"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1899604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Divider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3622894"/>
            <a:ext cx="11115674" cy="939581"/>
          </a:xfrm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9" y="4573459"/>
            <a:ext cx="5573988" cy="1027374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1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582DCF5F-B937-2640-A4A5-1D021401E3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8638" y="2085280"/>
            <a:ext cx="11115674" cy="1621662"/>
          </a:xfrm>
        </p:spPr>
        <p:txBody>
          <a:bodyPr anchor="b">
            <a:normAutofit/>
          </a:bodyPr>
          <a:lstStyle>
            <a:lvl1pPr marL="0" indent="0">
              <a:buNone/>
              <a:defRPr sz="6600" b="1"/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3724403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73031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276786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620759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1822564"/>
            <a:ext cx="11115674" cy="1247775"/>
          </a:xfrm>
          <a:noFill/>
        </p:spPr>
        <p:txBody>
          <a:bodyPr anchor="b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30502" y="3900492"/>
            <a:ext cx="2584173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33861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33880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5502" y="3900492"/>
            <a:ext cx="2586037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361247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6412" y="3900492"/>
            <a:ext cx="2587900" cy="22298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4853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738058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598144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5382288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500001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829964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61947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863756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B5CA4C7-9DA8-9349-A7AE-66A5D6A6F64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371849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0" name="Picture Placeholder 6">
            <a:extLst>
              <a:ext uri="{FF2B5EF4-FFF2-40B4-BE49-F238E27FC236}">
                <a16:creationId xmlns:a16="http://schemas.microsoft.com/office/drawing/2014/main" id="{0BDB9676-2139-3E4A-8902-B788AA4A1430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43636" y="1606538"/>
            <a:ext cx="2571751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3AAEAB4E-EA57-5D45-ADBA-C01E02C6716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9086849" y="1606538"/>
            <a:ext cx="2438028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DDF9A85-81B8-594C-8E42-376FC3678AA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D07625D3-4631-D144-A38F-D00BCF2C2126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7A595DD1-B636-EA46-A519-6AA9C65FD62C}"/>
              </a:ext>
            </a:extLst>
          </p:cNvPr>
          <p:cNvSpPr>
            <a:spLocks noGrp="1"/>
          </p:cNvSpPr>
          <p:nvPr>
            <p:ph type="body" idx="23" hasCustomPrompt="1"/>
          </p:nvPr>
        </p:nvSpPr>
        <p:spPr>
          <a:xfrm>
            <a:off x="3373211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A995848D-37D6-C04D-BDF8-0D8718112883}"/>
              </a:ext>
            </a:extLst>
          </p:cNvPr>
          <p:cNvSpPr>
            <a:spLocks noGrp="1"/>
          </p:cNvSpPr>
          <p:nvPr>
            <p:ph idx="24"/>
          </p:nvPr>
        </p:nvSpPr>
        <p:spPr>
          <a:xfrm>
            <a:off x="3368447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BFC0A166-67A0-2340-971A-FD7BAF6FB8CF}"/>
              </a:ext>
            </a:extLst>
          </p:cNvPr>
          <p:cNvSpPr>
            <a:spLocks noGrp="1"/>
          </p:cNvSpPr>
          <p:nvPr>
            <p:ph type="body" idx="25" hasCustomPrompt="1"/>
          </p:nvPr>
        </p:nvSpPr>
        <p:spPr>
          <a:xfrm>
            <a:off x="6225268" y="2878599"/>
            <a:ext cx="2588620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10E95A27-B41C-7F48-9F77-4204B73512BE}"/>
              </a:ext>
            </a:extLst>
          </p:cNvPr>
          <p:cNvSpPr>
            <a:spLocks noGrp="1"/>
          </p:cNvSpPr>
          <p:nvPr>
            <p:ph idx="26"/>
          </p:nvPr>
        </p:nvSpPr>
        <p:spPr>
          <a:xfrm>
            <a:off x="6220504" y="3194688"/>
            <a:ext cx="2576514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D1A0976-12BB-6843-AA08-4891F82E3E12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9077325" y="2878599"/>
            <a:ext cx="2437779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Content Placeholder 2">
            <a:extLst>
              <a:ext uri="{FF2B5EF4-FFF2-40B4-BE49-F238E27FC236}">
                <a16:creationId xmlns:a16="http://schemas.microsoft.com/office/drawing/2014/main" id="{0CE6D17D-6FF8-034C-B243-541C6CC0C0A7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9072561" y="3194688"/>
            <a:ext cx="2442543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3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919850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30838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BD7B9AD-945C-F149-B2DA-39EC98B68E99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47D4007-27E8-6B41-B124-3799DE9D3414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5405440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E58BC4C-2568-1D44-AC5F-BB2715C9AD23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6247039" y="4307350"/>
            <a:ext cx="526806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961F923-F71F-6342-AF54-96059A451659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6242275" y="4601668"/>
            <a:ext cx="5246813" cy="1528678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11482919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Picture Placeholder 6">
            <a:extLst>
              <a:ext uri="{FF2B5EF4-FFF2-40B4-BE49-F238E27FC236}">
                <a16:creationId xmlns:a16="http://schemas.microsoft.com/office/drawing/2014/main" id="{F5A1D93D-18EA-B646-9C69-64B68DA7465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343400" y="1606538"/>
            <a:ext cx="3495675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6">
            <a:extLst>
              <a:ext uri="{FF2B5EF4-FFF2-40B4-BE49-F238E27FC236}">
                <a16:creationId xmlns:a16="http://schemas.microsoft.com/office/drawing/2014/main" id="{B818FFBC-FCFC-9842-8A48-4D05E54A6C5A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9589" y="1606538"/>
            <a:ext cx="3385516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B12EB366-A3C6-464A-BD08-014B0A3C9D0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0F62171F-0172-564D-A50B-45829D68B82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599FE3A4-484C-7240-9A03-C0D58B29988D}"/>
              </a:ext>
            </a:extLst>
          </p:cNvPr>
          <p:cNvSpPr>
            <a:spLocks noGrp="1"/>
          </p:cNvSpPr>
          <p:nvPr>
            <p:ph type="body" idx="24" hasCustomPrompt="1"/>
          </p:nvPr>
        </p:nvSpPr>
        <p:spPr>
          <a:xfrm>
            <a:off x="4342039" y="4307350"/>
            <a:ext cx="351688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30028FF-B82F-EC4C-999B-C024355F8F2F}"/>
              </a:ext>
            </a:extLst>
          </p:cNvPr>
          <p:cNvSpPr>
            <a:spLocks noGrp="1"/>
          </p:cNvSpPr>
          <p:nvPr>
            <p:ph idx="25"/>
          </p:nvPr>
        </p:nvSpPr>
        <p:spPr>
          <a:xfrm>
            <a:off x="4337275" y="4601668"/>
            <a:ext cx="3500439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0311FA8-9690-B047-B085-60DB7E39A20E}"/>
              </a:ext>
            </a:extLst>
          </p:cNvPr>
          <p:cNvSpPr>
            <a:spLocks noGrp="1"/>
          </p:cNvSpPr>
          <p:nvPr>
            <p:ph type="body" idx="26" hasCustomPrompt="1"/>
          </p:nvPr>
        </p:nvSpPr>
        <p:spPr>
          <a:xfrm>
            <a:off x="8141153" y="4307350"/>
            <a:ext cx="337395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319F1970-3114-824F-93E4-D6E3FA50D6C5}"/>
              </a:ext>
            </a:extLst>
          </p:cNvPr>
          <p:cNvSpPr>
            <a:spLocks noGrp="1"/>
          </p:cNvSpPr>
          <p:nvPr>
            <p:ph idx="27"/>
          </p:nvPr>
        </p:nvSpPr>
        <p:spPr>
          <a:xfrm>
            <a:off x="8136389" y="4601668"/>
            <a:ext cx="33787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780853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Four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F954EBDC-0C0D-8C42-BD84-62A045BA7F6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400426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4" name="Picture Placeholder 6">
            <a:extLst>
              <a:ext uri="{FF2B5EF4-FFF2-40B4-BE49-F238E27FC236}">
                <a16:creationId xmlns:a16="http://schemas.microsoft.com/office/drawing/2014/main" id="{0D95A988-ADA4-2846-979A-FD44F1A4FBEB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243639" y="1606538"/>
            <a:ext cx="2571750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7" name="Picture Placeholder 6">
            <a:extLst>
              <a:ext uri="{FF2B5EF4-FFF2-40B4-BE49-F238E27FC236}">
                <a16:creationId xmlns:a16="http://schemas.microsoft.com/office/drawing/2014/main" id="{6839EE6C-2C09-9949-AA2C-88119F234581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058276" y="1606538"/>
            <a:ext cx="2459757" cy="25225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E079E8AD-12D3-6546-968E-72EB672317AA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A296A8EA-86DB-FC4D-BC77-160A57D989AF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705B1A4-0935-A54C-982E-3DA340F87D4A}"/>
              </a:ext>
            </a:extLst>
          </p:cNvPr>
          <p:cNvSpPr>
            <a:spLocks noGrp="1"/>
          </p:cNvSpPr>
          <p:nvPr>
            <p:ph type="body" idx="27" hasCustomPrompt="1"/>
          </p:nvPr>
        </p:nvSpPr>
        <p:spPr>
          <a:xfrm>
            <a:off x="3405868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CAB80D97-AAE2-2D40-9CC8-0D12B6BEFD34}"/>
              </a:ext>
            </a:extLst>
          </p:cNvPr>
          <p:cNvSpPr>
            <a:spLocks noGrp="1"/>
          </p:cNvSpPr>
          <p:nvPr>
            <p:ph idx="28"/>
          </p:nvPr>
        </p:nvSpPr>
        <p:spPr>
          <a:xfrm>
            <a:off x="3401104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C46255BB-B53E-F143-8DCC-368B651E8333}"/>
              </a:ext>
            </a:extLst>
          </p:cNvPr>
          <p:cNvSpPr>
            <a:spLocks noGrp="1"/>
          </p:cNvSpPr>
          <p:nvPr>
            <p:ph type="body" idx="29" hasCustomPrompt="1"/>
          </p:nvPr>
        </p:nvSpPr>
        <p:spPr>
          <a:xfrm>
            <a:off x="6236154" y="4307350"/>
            <a:ext cx="2588621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24610589-EA76-8540-99A0-FCF68932BE3C}"/>
              </a:ext>
            </a:extLst>
          </p:cNvPr>
          <p:cNvSpPr>
            <a:spLocks noGrp="1"/>
          </p:cNvSpPr>
          <p:nvPr>
            <p:ph idx="30"/>
          </p:nvPr>
        </p:nvSpPr>
        <p:spPr>
          <a:xfrm>
            <a:off x="6231390" y="4601668"/>
            <a:ext cx="2576515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195337D1-2A14-AC46-9E61-C0B6DF09A78E}"/>
              </a:ext>
            </a:extLst>
          </p:cNvPr>
          <p:cNvSpPr>
            <a:spLocks noGrp="1"/>
          </p:cNvSpPr>
          <p:nvPr>
            <p:ph type="body" idx="31" hasCustomPrompt="1"/>
          </p:nvPr>
        </p:nvSpPr>
        <p:spPr>
          <a:xfrm>
            <a:off x="9055554" y="4307350"/>
            <a:ext cx="247589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8" name="Content Placeholder 2">
            <a:extLst>
              <a:ext uri="{FF2B5EF4-FFF2-40B4-BE49-F238E27FC236}">
                <a16:creationId xmlns:a16="http://schemas.microsoft.com/office/drawing/2014/main" id="{4F7C987D-CA92-364A-A879-5D136287E479}"/>
              </a:ext>
            </a:extLst>
          </p:cNvPr>
          <p:cNvSpPr>
            <a:spLocks noGrp="1"/>
          </p:cNvSpPr>
          <p:nvPr>
            <p:ph idx="32"/>
          </p:nvPr>
        </p:nvSpPr>
        <p:spPr>
          <a:xfrm>
            <a:off x="9050791" y="4601668"/>
            <a:ext cx="2464314" cy="152867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4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3444643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and contact us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475818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1C0A461C-0294-B44F-97D5-FC39D0DC404B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0" y="0"/>
            <a:ext cx="5257800" cy="6857999"/>
          </a:xfrm>
        </p:spPr>
        <p:txBody>
          <a:bodyPr/>
          <a:lstStyle/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44581EE-8D51-5440-A998-B231FB90F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13821" y="1000076"/>
            <a:ext cx="5443537" cy="1491404"/>
          </a:xfrm>
          <a:noFill/>
        </p:spPr>
        <p:txBody>
          <a:bodyPr anchor="t">
            <a:normAutofit/>
          </a:bodyPr>
          <a:lstStyle>
            <a:lvl1pPr>
              <a:defRPr sz="48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6243638" y="2191451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52F2F56F-96CA-6140-8BC2-E01E7024533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243638" y="2491480"/>
            <a:ext cx="2586037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312EB146-5F86-304E-A51A-295F8092DC0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9101139" y="2191451"/>
            <a:ext cx="2543174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310E9C34-4047-CA46-B1B0-8BF910AA1891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9101139" y="2491480"/>
            <a:ext cx="2543174" cy="1593197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3E53DD7D-0825-6B41-A63F-025B0695B6E7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6243638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5A9BBC99-B117-F448-8745-97F0D1F9A1C1}"/>
              </a:ext>
            </a:extLst>
          </p:cNvPr>
          <p:cNvSpPr>
            <a:spLocks noGrp="1"/>
          </p:cNvSpPr>
          <p:nvPr>
            <p:ph type="body" sz="half" idx="16"/>
          </p:nvPr>
        </p:nvSpPr>
        <p:spPr>
          <a:xfrm>
            <a:off x="6243638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793902F-F09B-D24F-B7B3-22565938FF75}"/>
              </a:ext>
            </a:extLst>
          </p:cNvPr>
          <p:cNvSpPr>
            <a:spLocks noGrp="1"/>
          </p:cNvSpPr>
          <p:nvPr>
            <p:ph type="body" idx="17" hasCustomPrompt="1"/>
          </p:nvPr>
        </p:nvSpPr>
        <p:spPr>
          <a:xfrm>
            <a:off x="9058276" y="4426163"/>
            <a:ext cx="2586037" cy="288021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E0469521-F16C-7645-BF80-9C30AEA8ECDD}"/>
              </a:ext>
            </a:extLst>
          </p:cNvPr>
          <p:cNvSpPr>
            <a:spLocks noGrp="1"/>
          </p:cNvSpPr>
          <p:nvPr>
            <p:ph type="body" sz="half" idx="18"/>
          </p:nvPr>
        </p:nvSpPr>
        <p:spPr>
          <a:xfrm>
            <a:off x="9058276" y="4726192"/>
            <a:ext cx="2586037" cy="1404153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buNone/>
              <a:defRPr sz="10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6005099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6061119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356626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/>
          <p:cNvSpPr>
            <a:spLocks noGrp="1"/>
          </p:cNvSpPr>
          <p:nvPr>
            <p:ph type="pic" sz="quarter" idx="16"/>
          </p:nvPr>
        </p:nvSpPr>
        <p:spPr>
          <a:xfrm>
            <a:off x="0" y="655981"/>
            <a:ext cx="12192000" cy="4776706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451364" y="5592101"/>
            <a:ext cx="5079103" cy="687513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2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1255786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0324E0B-F39F-1D43-9422-07A82894B08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73260"/>
            <a:ext cx="3484562" cy="4141790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6C8741D6-FD00-644A-9F60-65C96E7E86A6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13EA26D9-6642-A64C-BE94-B9F7CC25EAE9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299857" y="1657350"/>
            <a:ext cx="721524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83266903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767E1D94-0DDA-C347-B8A1-E074FA2B0923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3400426" y="1657350"/>
            <a:ext cx="811467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FC81611-5E2D-F944-B5DC-77F0EC084D1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26463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5697742-5BFD-E94D-9B39-3F15B43192AC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2654801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4568147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on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07D81E4E-2C89-5449-A7CA-1170F511CF0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7172324" y="1657350"/>
            <a:ext cx="434278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7222704C-5B0D-8243-A65D-0547A2F09055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553625" y="1995032"/>
            <a:ext cx="4437061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2F83407-BFB3-F64E-B383-6B15D587BC0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542511" y="1657350"/>
            <a:ext cx="4451212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078119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 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C1560E6-0616-1E46-BCD0-77413CEC332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64514" y="1995032"/>
            <a:ext cx="3350590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3099CEF0-FDAD-0348-826B-EDF0A6A44E9A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53401" y="1657350"/>
            <a:ext cx="3361276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575CC65B-0B09-0840-85B2-DC45DA3AEBB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7344455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709803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content with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64FDB926-2E3C-2141-85F9-142126F4F452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8243886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3708FE2-7BD9-6741-AC35-E6D6340664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9000625" y="1995032"/>
            <a:ext cx="25144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89E29B-5E72-1B47-AC15-183EF5464EE2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989512" y="1657350"/>
            <a:ext cx="2522498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9965726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rrow content with wide caption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42D8366-3A72-774E-9DAF-409CBEB5B74A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52450" y="1657350"/>
            <a:ext cx="4471988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AF0A41A3-ADCC-F94C-98D5-4A734296F14B}"/>
              </a:ext>
            </a:extLst>
          </p:cNvPr>
          <p:cNvSpPr>
            <a:spLocks noGrp="1"/>
          </p:cNvSpPr>
          <p:nvPr>
            <p:ph type="body" sz="half" idx="14"/>
          </p:nvPr>
        </p:nvSpPr>
        <p:spPr>
          <a:xfrm>
            <a:off x="7172325" y="1995032"/>
            <a:ext cx="4342779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3AF3FA9F-C428-6549-9B6A-202E0FD79372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7167219" y="1657350"/>
            <a:ext cx="4356629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0674497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996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4354513" y="1714499"/>
            <a:ext cx="7160592" cy="440055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ED880A99-4201-3847-86F3-D77C5C2DBFF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54039" y="1995032"/>
            <a:ext cx="3484562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879568-7B89-6144-98EF-9A5090B5958B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542925" y="1657350"/>
            <a:ext cx="349567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6772069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with Caption on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E3C6896E-0613-DC41-9582-A7BB6D35DF20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52450" y="1714499"/>
            <a:ext cx="7289799" cy="4415846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73D605E1-0CFB-CE42-AD97-57E1B5B41B7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159750" y="1995032"/>
            <a:ext cx="3355354" cy="4120018"/>
          </a:xfrm>
        </p:spPr>
        <p:txBody>
          <a:bodyPr>
            <a:normAutofit/>
          </a:bodyPr>
          <a:lstStyle>
            <a:lvl1pPr marL="0" indent="0">
              <a:lnSpc>
                <a:spcPts val="1900"/>
              </a:lnSpc>
              <a:buNone/>
              <a:defRPr sz="12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44D688F-F5DF-2843-BB18-D4261CED213D}"/>
              </a:ext>
            </a:extLst>
          </p:cNvPr>
          <p:cNvSpPr>
            <a:spLocks noGrp="1"/>
          </p:cNvSpPr>
          <p:nvPr>
            <p:ph type="body" idx="13" hasCustomPrompt="1"/>
          </p:nvPr>
        </p:nvSpPr>
        <p:spPr>
          <a:xfrm>
            <a:off x="8148636" y="1657350"/>
            <a:ext cx="3366055" cy="277809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045067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s and testimonial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ED18DE4-0234-E248-AACA-E37DB1A774D5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2863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A3994FF5-75CA-D542-AE8A-FF290128AD76}"/>
              </a:ext>
            </a:extLst>
          </p:cNvPr>
          <p:cNvSpPr>
            <a:spLocks noGrp="1"/>
          </p:cNvSpPr>
          <p:nvPr>
            <p:ph type="body" idx="15" hasCustomPrompt="1"/>
          </p:nvPr>
        </p:nvSpPr>
        <p:spPr>
          <a:xfrm>
            <a:off x="43576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408E50E4-226F-9847-9392-FE95E91D60DC}"/>
              </a:ext>
            </a:extLst>
          </p:cNvPr>
          <p:cNvSpPr>
            <a:spLocks noGrp="1"/>
          </p:cNvSpPr>
          <p:nvPr>
            <p:ph type="body" idx="16" hasCustomPrompt="1"/>
          </p:nvPr>
        </p:nvSpPr>
        <p:spPr>
          <a:xfrm>
            <a:off x="8129588" y="5412692"/>
            <a:ext cx="3543300" cy="659495"/>
          </a:xfrm>
        </p:spPr>
        <p:txBody>
          <a:bodyPr>
            <a:normAutofit/>
          </a:bodyPr>
          <a:lstStyle>
            <a:lvl1pPr marL="0" indent="0">
              <a:buNone/>
              <a:defRPr sz="140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807A35C6-3861-BC41-830C-3E0AA840565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5768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94ECD9F0-E726-484A-BAE6-AEAA3F1F970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28638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5E63B64F-6E94-6A41-B8DD-27F9FD18751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5300" y="1209675"/>
            <a:ext cx="3543300" cy="3976688"/>
          </a:xfrm>
        </p:spPr>
        <p:txBody>
          <a:bodyPr anchor="b">
            <a:normAutofit/>
          </a:bodyPr>
          <a:lstStyle>
            <a:lvl1pPr marL="0" indent="0">
              <a:lnSpc>
                <a:spcPts val="4500"/>
              </a:lnSpc>
              <a:buNone/>
              <a:defRPr sz="3200" i="1">
                <a:latin typeface="Georgia" panose="02040502050405020303" pitchFamily="18" charset="0"/>
              </a:defRPr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68881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1A143651-3799-F24B-AEFE-AAAD1187C7AF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538161" y="1657350"/>
            <a:ext cx="5405440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3C0C7668-8CC7-CF4A-8570-FDE604593FB0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226267" y="1657350"/>
            <a:ext cx="5288837" cy="4457700"/>
          </a:xfrm>
        </p:spPr>
        <p:txBody>
          <a:bodyPr/>
          <a:lstStyle>
            <a:lvl1pPr>
              <a:lnSpc>
                <a:spcPts val="2100"/>
              </a:lnSpc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60" y="550861"/>
            <a:ext cx="11006344" cy="835027"/>
          </a:xfrm>
        </p:spPr>
        <p:txBody>
          <a:bodyPr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>
            <a:off x="616226" y="1282149"/>
            <a:ext cx="1089887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7951160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9A9B164-9C2C-4D48-8696-9484E8FF7626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1681171"/>
            <a:ext cx="5400676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A45142E-614C-1941-A4E8-E24EA5A0D501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6267" y="1681171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A76002A2-2BEE-E84D-91F0-54ED39ABA3C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38161" y="1986374"/>
            <a:ext cx="5405440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E3047B5C-8C66-DD49-8353-D9A1331573E0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226267" y="1986374"/>
            <a:ext cx="5288837" cy="4143971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8638" y="442013"/>
            <a:ext cx="5434841" cy="730804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206997" y="1277039"/>
            <a:ext cx="5327375" cy="511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/>
          <p:cNvSpPr>
            <a:spLocks noGrp="1"/>
          </p:cNvSpPr>
          <p:nvPr>
            <p:ph type="body" sz="quarter" idx="19" hasCustomPrompt="1"/>
          </p:nvPr>
        </p:nvSpPr>
        <p:spPr>
          <a:xfrm>
            <a:off x="6227003" y="442015"/>
            <a:ext cx="5327650" cy="73080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0294183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wo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5" y="1606538"/>
            <a:ext cx="540067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43638" y="1606538"/>
            <a:ext cx="5271466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BBDF55F-90F0-1C41-908C-56A92237925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542925" y="2878599"/>
            <a:ext cx="5430838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2EA49D96-8068-0E46-8E04-581AD2DEEBF8}"/>
              </a:ext>
            </a:extLst>
          </p:cNvPr>
          <p:cNvSpPr>
            <a:spLocks noGrp="1"/>
          </p:cNvSpPr>
          <p:nvPr>
            <p:ph type="body" sz="quarter" idx="3" hasCustomPrompt="1"/>
          </p:nvPr>
        </p:nvSpPr>
        <p:spPr>
          <a:xfrm>
            <a:off x="6229352" y="2878599"/>
            <a:ext cx="5285752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7DEAE7C-B91C-3A45-9797-1CA40EEE86FC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538161" y="3194688"/>
            <a:ext cx="5405440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ACBF5F4D-C8DF-6B40-9757-7862B3F3D013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6226267" y="3194688"/>
            <a:ext cx="528883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414712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Three Icon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CB20CF7-ABEA-2C4D-BB72-60BDB752E09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2924" y="1606538"/>
            <a:ext cx="3495675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1" name="Picture Placeholder 6">
            <a:extLst>
              <a:ext uri="{FF2B5EF4-FFF2-40B4-BE49-F238E27FC236}">
                <a16:creationId xmlns:a16="http://schemas.microsoft.com/office/drawing/2014/main" id="{30AB767C-C8CE-A646-995D-CEACD85456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329113" y="1606538"/>
            <a:ext cx="352901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4" name="Picture Placeholder 6">
            <a:extLst>
              <a:ext uri="{FF2B5EF4-FFF2-40B4-BE49-F238E27FC236}">
                <a16:creationId xmlns:a16="http://schemas.microsoft.com/office/drawing/2014/main" id="{30BC5AE0-0A2C-0A47-AED3-72F396E00B9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15301" y="1606538"/>
            <a:ext cx="3430302" cy="1085850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9B8C281-38F9-7B4F-9053-E5183E02C72C}"/>
              </a:ext>
            </a:extLst>
          </p:cNvPr>
          <p:cNvSpPr>
            <a:spLocks noGrp="1"/>
          </p:cNvSpPr>
          <p:nvPr>
            <p:ph type="body" idx="19" hasCustomPrompt="1"/>
          </p:nvPr>
        </p:nvSpPr>
        <p:spPr>
          <a:xfrm>
            <a:off x="4329113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18917B6-ED6E-5247-A016-E8EB5828083B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4324349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E23316C5-42E3-A546-BFAD-685CA83063A4}"/>
              </a:ext>
            </a:extLst>
          </p:cNvPr>
          <p:cNvSpPr>
            <a:spLocks noGrp="1"/>
          </p:cNvSpPr>
          <p:nvPr>
            <p:ph type="body" idx="20" hasCustomPrompt="1"/>
          </p:nvPr>
        </p:nvSpPr>
        <p:spPr>
          <a:xfrm>
            <a:off x="529998" y="2878599"/>
            <a:ext cx="3516885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736DC52-B567-4A40-86E6-A926C985A3C3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525234" y="3194688"/>
            <a:ext cx="3500438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E92BD2B-6F22-EA49-83E7-283C14BE4AA6}"/>
              </a:ext>
            </a:extLst>
          </p:cNvPr>
          <p:cNvSpPr>
            <a:spLocks noGrp="1"/>
          </p:cNvSpPr>
          <p:nvPr>
            <p:ph type="body" idx="22" hasCustomPrompt="1"/>
          </p:nvPr>
        </p:nvSpPr>
        <p:spPr>
          <a:xfrm>
            <a:off x="8117341" y="2878599"/>
            <a:ext cx="3397763" cy="311138"/>
          </a:xfrm>
        </p:spPr>
        <p:txBody>
          <a:bodyPr anchor="t">
            <a:normAutofit/>
          </a:bodyPr>
          <a:lstStyle>
            <a:lvl1pPr marL="0" indent="0">
              <a:lnSpc>
                <a:spcPct val="100000"/>
              </a:lnSpc>
              <a:buNone/>
              <a:defRPr sz="1400" b="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447E32C1-C9CF-044C-AA5E-2ED6C83D1E1F}"/>
              </a:ext>
            </a:extLst>
          </p:cNvPr>
          <p:cNvSpPr>
            <a:spLocks noGrp="1"/>
          </p:cNvSpPr>
          <p:nvPr>
            <p:ph idx="23"/>
          </p:nvPr>
        </p:nvSpPr>
        <p:spPr>
          <a:xfrm>
            <a:off x="8112577" y="3194688"/>
            <a:ext cx="3402527" cy="2935657"/>
          </a:xfrm>
        </p:spPr>
        <p:txBody>
          <a:bodyPr>
            <a:normAutofit/>
          </a:bodyPr>
          <a:lstStyle>
            <a:lvl1pPr>
              <a:lnSpc>
                <a:spcPts val="2100"/>
              </a:lnSpc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lnSpc>
                <a:spcPts val="2100"/>
              </a:lnSpc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lnSpc>
                <a:spcPts val="2100"/>
              </a:lnSpc>
              <a:defRPr sz="11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274FB544-0753-1E4B-A414-CB8CEF8925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8759" y="550861"/>
            <a:ext cx="11006345" cy="835027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BF354029-E75E-6F47-88D0-33B7164E6319}"/>
              </a:ext>
            </a:extLst>
          </p:cNvPr>
          <p:cNvCxnSpPr/>
          <p:nvPr userDrawn="1"/>
        </p:nvCxnSpPr>
        <p:spPr>
          <a:xfrm flipV="1">
            <a:off x="616226" y="1271675"/>
            <a:ext cx="10918825" cy="10474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7E88AD31-4954-044A-B166-33D56A940E1C}"/>
              </a:ext>
            </a:extLst>
          </p:cNvPr>
          <p:cNvSpPr txBox="1">
            <a:spLocks/>
          </p:cNvSpPr>
          <p:nvPr userDrawn="1"/>
        </p:nvSpPr>
        <p:spPr>
          <a:xfrm>
            <a:off x="5829051" y="6456366"/>
            <a:ext cx="365760" cy="2475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ctr" defTabSz="914400" rtl="0" eaLnBrk="1" latinLnBrk="0" hangingPunct="1">
              <a:defRPr sz="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0CBB59C-0D25-7048-A082-95EACEC57381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648870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jpe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tags" Target="../tags/tag8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vmlDrawing" Target="../drawings/vmlDrawing8.vml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hyperlink" Target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%20wordmark&amp;ved=0ahUKEwjuq8nnosTZAhVQQq0KHQN_B-QQMwhPKAkwCQ&amp;iact=mrc&amp;uact=8" TargetMode="Externa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theme" Target="../theme/theme2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image" Target="../media/image1.emf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image" Target="../media/image3.jpeg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oleObject" Target="../embeddings/oleObject8.bin"/><Relationship Id="rId30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45387794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30" imgW="473" imgH="473" progId="TCLayout.ActiveDocument.1">
                  <p:embed/>
                </p:oleObj>
              </mc:Choice>
              <mc:Fallback>
                <p:oleObj name="think-cell Slide" r:id="rId30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32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11901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710" r:id="rId24"/>
    <p:sldLayoutId id="2147483711" r:id="rId25"/>
    <p:sldLayoutId id="2147483708" r:id="rId2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1751285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27" imgW="473" imgH="473" progId="TCLayout.ActiveDocument.1">
                  <p:embed/>
                </p:oleObj>
              </mc:Choice>
              <mc:Fallback>
                <p:oleObj name="think-cell Slide" r:id="rId27" imgW="473" imgH="473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06CD8F89-9FB8-7B4E-9786-63C07B8CCA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2450" y="550861"/>
            <a:ext cx="11091862" cy="83502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21D4ACC-A397-1E47-B656-2FC4113DC45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2449" y="1657350"/>
            <a:ext cx="11091863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9" name="Picture 8" descr="Image result for canada wordmark">
            <a:hlinkClick r:id="rId29" invalidUrl="https://www.google.ca/imgres?imgurl=https://s3.ca-central-1.amazonaws.com/vectorinstitute.ai/images/logos/Canada_Wordmark_EN.png&amp;imgrefurl=http://vectorinstitute.ai/&amp;docid=yhgK_zErh6d3aM&amp;tbnid=IIIM82B5TUYATM:&amp;vet=10ahUKEwjuq8nnosTZAhVQQq0KHQN_B-QQMwhPKAkwCQ..i&amp;w=1165&amp;h=303&amp;bih=479&amp;biw=1188&amp;q=canada wordmark&amp;ved=0ahUKEwjuq8nnosTZAhVQQq0KHQN_B-QQMwhPKAkwCQ&amp;iact=mrc&amp;uact=8"/>
          </p:cNvPr>
          <p:cNvPicPr/>
          <p:nvPr userDrawn="1"/>
        </p:nvPicPr>
        <p:blipFill>
          <a:blip r:embed="rId3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58920" y="6396193"/>
            <a:ext cx="885392" cy="229331"/>
          </a:xfrm>
          <a:prstGeom prst="rect">
            <a:avLst/>
          </a:prstGeom>
          <a:noFill/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9CA9733-78EF-5F49-81C1-064DE89D5260}"/>
              </a:ext>
            </a:extLst>
          </p:cNvPr>
          <p:cNvPicPr>
            <a:picLocks noChangeAspect="1"/>
          </p:cNvPicPr>
          <p:nvPr userDrawn="1"/>
        </p:nvPicPr>
        <p:blipFill>
          <a:blip r:embed="rId3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2450" y="6374859"/>
            <a:ext cx="2036645" cy="2506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602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ts val="24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ts val="24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6.xml"/><Relationship Id="rId7" Type="http://schemas.openxmlformats.org/officeDocument/2006/relationships/notesSlide" Target="../notesSlides/notesSlide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slideLayout" Target="../slideLayouts/slideLayout24.xml"/><Relationship Id="rId5" Type="http://schemas.openxmlformats.org/officeDocument/2006/relationships/tags" Target="../tags/tag18.xml"/><Relationship Id="rId4" Type="http://schemas.openxmlformats.org/officeDocument/2006/relationships/tags" Target="../tags/tag17.xml"/><Relationship Id="rId9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7.xml"/><Relationship Id="rId1" Type="http://schemas.openxmlformats.org/officeDocument/2006/relationships/tags" Target="../tags/tag36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tags" Target="../tags/tag19.xml"/><Relationship Id="rId6" Type="http://schemas.openxmlformats.org/officeDocument/2006/relationships/image" Target="../media/image6.png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1.xml"/><Relationship Id="rId1" Type="http://schemas.openxmlformats.org/officeDocument/2006/relationships/tags" Target="../tags/tag30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3.xml"/><Relationship Id="rId1" Type="http://schemas.openxmlformats.org/officeDocument/2006/relationships/tags" Target="../tags/tag32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notesSlide" Target="../notesSlides/notesSlide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BF7B4991-5680-496C-9BA2-923177F4C6D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-236" y="-6952"/>
            <a:ext cx="12192235" cy="1499804"/>
          </a:xfrm>
          <a:prstGeom prst="rect">
            <a:avLst/>
          </a:prstGeom>
          <a:solidFill>
            <a:srgbClr val="17455C">
              <a:alpha val="8902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CA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524908" y="322561"/>
            <a:ext cx="8896349" cy="835027"/>
          </a:xfrm>
        </p:spPr>
        <p:txBody>
          <a:bodyPr>
            <a:normAutofit fontScale="90000"/>
          </a:bodyPr>
          <a:lstStyle/>
          <a:p>
            <a:pPr algn="l" rtl="0"/>
            <a:r>
              <a:rPr lang="fr-CA" sz="2400" b="1" i="0" u="none" baseline="0">
                <a:solidFill>
                  <a:schemeClr val="bg1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rPr>
              <a:t>Imprimer une série d’affiches de la journée de l’événement pour chaque étage ou équipe. Voir les directives supplémentaires ci-dessous.  </a:t>
            </a:r>
            <a:endParaRPr lang="fr-CA" sz="2400" b="1" i="0" u="none" baseline="0" dirty="0">
              <a:solidFill>
                <a:schemeClr val="bg1"/>
              </a:solidFill>
              <a:latin typeface="Arial" panose="020B0604020202020204" pitchFamily="34" charset="0"/>
              <a:ea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75411B1-04C0-4254-9690-4D0A9812D45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8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4116" y="244353"/>
            <a:ext cx="974850" cy="974850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B00D8FBA-BD9E-4E13-A0AD-B19456A6370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 rotWithShape="1">
          <a:blip r:embed="rId9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768207" y="1977455"/>
            <a:ext cx="2423793" cy="3749996"/>
          </a:xfrm>
          <a:prstGeom prst="rect">
            <a:avLst/>
          </a:prstGeom>
        </p:spPr>
      </p:pic>
      <p:graphicFrame>
        <p:nvGraphicFramePr>
          <p:cNvPr id="8" name="Table 8">
            <a:extLst>
              <a:ext uri="{FF2B5EF4-FFF2-40B4-BE49-F238E27FC236}">
                <a16:creationId xmlns:a16="http://schemas.microsoft.com/office/drawing/2014/main" id="{C93DBE18-8F20-40EE-8C64-637065DB2184}"/>
              </a:ext>
            </a:extLst>
          </p:cNvPr>
          <p:cNvGraphicFramePr>
            <a:graphicFrameLocks noGrp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740728996"/>
              </p:ext>
            </p:extLst>
          </p:nvPr>
        </p:nvGraphicFramePr>
        <p:xfrm>
          <a:off x="324116" y="1806816"/>
          <a:ext cx="9561540" cy="4938210"/>
        </p:xfrm>
        <a:graphic>
          <a:graphicData uri="http://schemas.openxmlformats.org/drawingml/2006/table">
            <a:tbl>
              <a:tblPr firstRow="1" bandRow="1">
                <a:tableStyleId>{7DF18680-E054-41AD-8BC1-D1AEF772440D}</a:tableStyleId>
              </a:tblPr>
              <a:tblGrid>
                <a:gridCol w="3492510">
                  <a:extLst>
                    <a:ext uri="{9D8B030D-6E8A-4147-A177-3AD203B41FA5}">
                      <a16:colId xmlns:a16="http://schemas.microsoft.com/office/drawing/2014/main" val="1553875949"/>
                    </a:ext>
                  </a:extLst>
                </a:gridCol>
                <a:gridCol w="6069030">
                  <a:extLst>
                    <a:ext uri="{9D8B030D-6E8A-4147-A177-3AD203B41FA5}">
                      <a16:colId xmlns:a16="http://schemas.microsoft.com/office/drawing/2014/main" val="848242381"/>
                    </a:ext>
                  </a:extLst>
                </a:gridCol>
              </a:tblGrid>
              <a:tr h="408568">
                <a:tc>
                  <a:txBody>
                    <a:bodyPr/>
                    <a:lstStyle/>
                    <a:p>
                      <a:pPr algn="ctr" rtl="0"/>
                      <a:r>
                        <a:rPr lang="fr-ca" sz="1800" b="1" i="0" u="none" baseline="0"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Type d’affich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fr-ca" sz="1800" b="1" i="0" u="none" baseline="0"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Emplaceme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63706422"/>
                  </a:ext>
                </a:extLst>
              </a:tr>
              <a:tr h="408568"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Zones d’équipement de TI excédentai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staller au-dessus d’une grande boîte pour les biens et les périphériques située dans une zone central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06633375"/>
                  </a:ext>
                </a:extLst>
              </a:tr>
              <a:tr h="570875"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Mobilier excédentair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staller au-dessus d’une station équipée de feuillets adhésifs et de marqueurs permanents située dans une zone central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4963152"/>
                  </a:ext>
                </a:extLst>
              </a:tr>
              <a:tr h="408568"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 dirty="0"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cyclage du papi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staller sur un bac de recyclage pour le papier ou sur le mur derrière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93102229"/>
                  </a:ext>
                </a:extLst>
              </a:tr>
              <a:tr h="570875"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Déchiquetag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 dirty="0"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staller au-dessus des bacs/postes de déchiquetage déjà situés dans votre bureau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05600322"/>
                  </a:ext>
                </a:extLst>
              </a:tr>
              <a:tr h="408568"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Fournitures de bureau excédentair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staller au-dessus d’une grande boîte pour accueillir des fournitures de bureau supplémentaires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03272967"/>
                  </a:ext>
                </a:extLst>
              </a:tr>
              <a:tr h="570875"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 dirty="0"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Éléments multimédia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staller au-dessus d’une grande boîte pouvant accueillir les éléments multimédias destinés à être détruits.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6462344"/>
                  </a:ext>
                </a:extLst>
              </a:tr>
              <a:tr h="408568"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 dirty="0"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Déchets</a:t>
                      </a:r>
                      <a:endParaRPr lang="fr-ca" sz="1400" b="0" i="0" u="none" baseline="0" dirty="0">
                        <a:latin typeface="Arial" panose="020B0604020202020204" pitchFamily="34" charset="0"/>
                        <a:ea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staller au-dessus des postes pour les déchets déjà situés dans votre bureau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0785067"/>
                  </a:ext>
                </a:extLst>
              </a:tr>
              <a:tr h="335809"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 dirty="0"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Remise en éta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staller au-dessus d’une grande boîte pouvant accueillir l’équipement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0570545"/>
                  </a:ext>
                </a:extLst>
              </a:tr>
              <a:tr h="335809"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Désinfec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rtl="0"/>
                      <a:r>
                        <a:rPr lang="fr-ca" sz="1400" b="0" i="0" u="none" baseline="0" dirty="0">
                          <a:latin typeface="Arial" panose="020B0604020202020204" pitchFamily="34" charset="0"/>
                          <a:ea typeface="Arial" panose="020B0604020202020204" pitchFamily="34" charset="0"/>
                          <a:cs typeface="Arial" panose="020B0604020202020204" pitchFamily="34" charset="0"/>
                        </a:rPr>
                        <a:t>Installer au-dessus d’une zone qui contient les EPI ainsi que tout le matériel de désinfection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3272116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36830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658788" y="1980522"/>
            <a:ext cx="10874424" cy="3658278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88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ÉQUIPEMENT DE TI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L’équipement de TI et les périphériques excédentaires doivent </a:t>
            </a:r>
            <a:b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être placés ici pour être retournés à l’équipe de la TI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1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rci de votre participation!</a:t>
            </a:r>
          </a:p>
        </p:txBody>
      </p:sp>
      <p:pic>
        <p:nvPicPr>
          <p:cNvPr id="7" name="Graphic 6" descr="Symbole d’avertissement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16026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78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BIENS CONSERVÉ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ous les biens opérationnels et identifiés pour conservation. Veuillez étiqueter le matériel selon les directives fournies dans votre guide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1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rci de votre participation!</a:t>
            </a:r>
          </a:p>
        </p:txBody>
      </p:sp>
      <p:pic>
        <p:nvPicPr>
          <p:cNvPr id="7" name="Graphic 6" descr="Symbole d’avertissement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20416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96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DÉSINFECTION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euillez utiliser le matériel de désinfection fourni pour nettoyer toutes les surfaces de contact. De l’EPI est également fourni, veuillez le porter conformément aux recommandations.</a:t>
            </a:r>
            <a:endParaRPr kumimoji="0" lang="fr-CA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200" b="1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1" u="none" strike="noStrike" kern="1200" cap="none" spc="0" normalizeH="0" baseline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rci de votre participation!</a:t>
            </a:r>
            <a:endParaRPr kumimoji="0" lang="fr-CA" sz="1800" b="1" i="1" u="none" strike="noStrike" kern="1200" cap="none" spc="0" normalizeH="0" baseline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7" name="Graphic 6" descr="Symbole d’avertissement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483353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658788" y="2551288"/>
            <a:ext cx="10874424" cy="3626773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66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Carrefour du capitaine du nettoyag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euillez rassembler tout le matériel de nettoyage nécessaire. </a:t>
            </a:r>
            <a:b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es questions? Le capitaine du nettoyage pourra y répondre.</a:t>
            </a:r>
            <a:endParaRPr kumimoji="0" lang="fr-CA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200" b="1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1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rci de votre participation!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C45DDE6-FF04-4CDF-BBD0-3E30035338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5283198" y="2213992"/>
            <a:ext cx="1625601" cy="3887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fr-CA" dirty="0"/>
          </a:p>
        </p:txBody>
      </p:sp>
      <p:pic>
        <p:nvPicPr>
          <p:cNvPr id="9" name="Picture 8" descr="Symbole d’une personne">
            <a:extLst>
              <a:ext uri="{FF2B5EF4-FFF2-40B4-BE49-F238E27FC236}">
                <a16:creationId xmlns:a16="http://schemas.microsoft.com/office/drawing/2014/main" id="{7C2CAD73-DBCE-45ED-BA27-56AA3F0E1E51}"/>
              </a:ext>
            </a:extLst>
          </p:cNvPr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6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42749" y="1231902"/>
            <a:ext cx="1896447" cy="18964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67876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88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DÉCHIQUETAG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euillez vous assurer que le matériel peut être déchiqueté.</a:t>
            </a:r>
            <a:endParaRPr kumimoji="0" lang="fr-CA" sz="12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200" b="1" i="1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1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rci de votre participation!</a:t>
            </a:r>
          </a:p>
        </p:txBody>
      </p:sp>
      <p:pic>
        <p:nvPicPr>
          <p:cNvPr id="7" name="Graphic 6" descr="Symbole d’avertissement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999026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96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DÉCHET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euillez séparer les déchets des produits recyclables et </a:t>
            </a:r>
            <a:b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placer tous les déchets dans le bac prévu à cet effet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1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rci de votre participation!</a:t>
            </a:r>
          </a:p>
        </p:txBody>
      </p:sp>
      <p:pic>
        <p:nvPicPr>
          <p:cNvPr id="7" name="Graphic 6" descr="Symbole d’avertissement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59683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658788" y="1980522"/>
            <a:ext cx="10874424" cy="3611386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96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ÉLÉMENTS MULTIMÉDIAS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ous les types de CD, DVD, etc., qui nécessitent une élimination sécuritaire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1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rci de votre participation!</a:t>
            </a:r>
          </a:p>
        </p:txBody>
      </p:sp>
      <p:pic>
        <p:nvPicPr>
          <p:cNvPr id="7" name="Graphic 6" descr="Symbole d’avertissement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07473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658788" y="1980522"/>
            <a:ext cx="10874424" cy="3904463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96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REMISE EN ÉTAT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ous les biens excédentaires (technologie) doivent être identifiés et placés ici. S’ils sont trop lourds pour être déplacés, veuillez les étiqueter en conséquence.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1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rci de votre participation!</a:t>
            </a:r>
          </a:p>
        </p:txBody>
      </p:sp>
      <p:pic>
        <p:nvPicPr>
          <p:cNvPr id="7" name="Graphic 6" descr="Symbole d’avertissement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830154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72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RECYCLAGE DU PAPIER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Veuillez séparer le papier des autres matériaux (c’est-à-dire le plastique et le métal). Tous les documents sécurisés ayant dépassé leur période de conservation doivent être déchiquetés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1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rci de votre participation!</a:t>
            </a:r>
          </a:p>
        </p:txBody>
      </p:sp>
      <p:pic>
        <p:nvPicPr>
          <p:cNvPr id="7" name="Graphic 6" descr="Symbole d’avertissement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32248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658788" y="1980522"/>
            <a:ext cx="10874424" cy="3763786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 fontScale="9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80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FOURNITURES DE BUREAU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Déposer les fournitures de bureau excédentaires dans les boîtes prévues à cet effet. Cela comprend les stylos, les cahiers, les agrafeuses, les règles, les ciseaux, les classeurs ou toute autre fourniture de bureau pouvant être utilisés. 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1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rci de votre participation!</a:t>
            </a:r>
          </a:p>
        </p:txBody>
      </p:sp>
      <p:pic>
        <p:nvPicPr>
          <p:cNvPr id="7" name="Graphic 6" descr="Symbole d’avertissement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82417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re 1">
            <a:extLst>
              <a:ext uri="{FF2B5EF4-FFF2-40B4-BE49-F238E27FC236}">
                <a16:creationId xmlns:a16="http://schemas.microsoft.com/office/drawing/2014/main" id="{9F520F1B-A1D0-4CB3-A800-026E199C7D3E}"/>
              </a:ext>
            </a:extLst>
          </p:cNvPr>
          <p:cNvSpPr txBox="1">
            <a:spLocks noGrp="1"/>
          </p:cNvSpPr>
          <p:nvPr>
            <p:ph type="title" idx="4294967295"/>
            <p:custDataLst>
              <p:tags r:id="rId1"/>
            </p:custDataLst>
          </p:nvPr>
        </p:nvSpPr>
        <p:spPr>
          <a:xfrm>
            <a:off x="658788" y="1980522"/>
            <a:ext cx="10874424" cy="3399861"/>
          </a:xfrm>
          <a:prstGeom prst="roundRect">
            <a:avLst/>
          </a:prstGeom>
          <a:solidFill>
            <a:schemeClr val="bg1"/>
          </a:solidFill>
          <a:ln w="76200">
            <a:solidFill>
              <a:schemeClr val="accent5"/>
            </a:solidFill>
            <a:prstDash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6600" b="1" i="0" u="none" strike="noStrike" kern="1200" cap="none" spc="0" normalizeH="0" baseline="0" dirty="0">
                <a:ln>
                  <a:noFill/>
                </a:ln>
                <a:solidFill>
                  <a:schemeClr val="accent2">
                    <a:lumMod val="75000"/>
                  </a:schemeClr>
                </a:solidFill>
                <a:effectLst/>
                <a:uLnTx/>
                <a:uFillTx/>
                <a:latin typeface="Arial Black" panose="020B0A04020102020204" pitchFamily="34" charset="0"/>
                <a:ea typeface="+mj-ea"/>
                <a:cs typeface="Arial" panose="020B0604020202020204" pitchFamily="34" charset="0"/>
              </a:rPr>
              <a:t>MOBILIER EXCÉDENTAIRE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À l’aide des étiquettes fournies, apposer la mention </a:t>
            </a:r>
            <a:b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fr-CA" sz="1800" b="1" i="0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« excédentaire » sur tous les meubles brisés et inutilisés.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fr-CA" sz="1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CA" sz="1800" b="1" i="1" u="none" strike="noStrike" kern="1200" cap="none" spc="0" normalizeH="0" baseline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erci de votre participation!</a:t>
            </a:r>
          </a:p>
        </p:txBody>
      </p:sp>
      <p:pic>
        <p:nvPicPr>
          <p:cNvPr id="7" name="Graphic 6" descr="Symbole d’avertissement">
            <a:extLst>
              <a:ext uri="{FF2B5EF4-FFF2-40B4-BE49-F238E27FC236}">
                <a16:creationId xmlns:a16="http://schemas.microsoft.com/office/drawing/2014/main" id="{78BED60D-45DA-41D2-8936-C2BA4C8E1078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5003304" y="180323"/>
            <a:ext cx="2185392" cy="21853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75568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5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3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UM" val="2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_Office Theme">
  <a:themeElements>
    <a:clrScheme name="GCworkplace-Color Palette">
      <a:dk1>
        <a:srgbClr val="000000"/>
      </a:dk1>
      <a:lt1>
        <a:srgbClr val="FFFFFF"/>
      </a:lt1>
      <a:dk2>
        <a:srgbClr val="77797C"/>
      </a:dk2>
      <a:lt2>
        <a:srgbClr val="E7E6E6"/>
      </a:lt2>
      <a:accent1>
        <a:srgbClr val="A8CE75"/>
      </a:accent1>
      <a:accent2>
        <a:srgbClr val="4CB6A0"/>
      </a:accent2>
      <a:accent3>
        <a:srgbClr val="18853F"/>
      </a:accent3>
      <a:accent4>
        <a:srgbClr val="F2A920"/>
      </a:accent4>
      <a:accent5>
        <a:srgbClr val="17455C"/>
      </a:accent5>
      <a:accent6>
        <a:srgbClr val="BBBCBF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7907</TotalTime>
  <Words>528</Words>
  <Application>Microsoft Office PowerPoint</Application>
  <PresentationFormat>Widescreen</PresentationFormat>
  <Paragraphs>77</Paragraphs>
  <Slides>12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2</vt:i4>
      </vt:variant>
    </vt:vector>
  </HeadingPairs>
  <TitlesOfParts>
    <vt:vector size="19" baseType="lpstr">
      <vt:lpstr>Arial</vt:lpstr>
      <vt:lpstr>Arial Black</vt:lpstr>
      <vt:lpstr>Calibri</vt:lpstr>
      <vt:lpstr>Georgia</vt:lpstr>
      <vt:lpstr>1_Office Theme</vt:lpstr>
      <vt:lpstr>2_Office Theme</vt:lpstr>
      <vt:lpstr>think-cell Slide</vt:lpstr>
      <vt:lpstr>Imprimer une série d’affiches de la journée de l’événement pour chaque étage ou équipe. Voir les directives supplémentaires ci-dessous.  </vt:lpstr>
      <vt:lpstr>Carrefour du capitaine du nettoyage Veuillez rassembler tout le matériel de nettoyage nécessaire.  Des questions? Le capitaine du nettoyage pourra y répondre.  Merci de votre participation!</vt:lpstr>
      <vt:lpstr>DÉCHIQUETAGE Veuillez vous assurer que le matériel peut être déchiqueté.  Merci de votre participation!</vt:lpstr>
      <vt:lpstr>DÉCHETS Veuillez séparer les déchets des produits recyclables et  placer tous les déchets dans le bac prévu à cet effet.  Merci de votre participation!</vt:lpstr>
      <vt:lpstr>ÉLÉMENTS MULTIMÉDIAS Tous les types de CD, DVD, etc., qui nécessitent une élimination sécuritaire.  Merci de votre participation!</vt:lpstr>
      <vt:lpstr>REMISE EN ÉTAT Tous les biens excédentaires (technologie) doivent être identifiés et placés ici. S’ils sont trop lourds pour être déplacés, veuillez les étiqueter en conséquence.  Merci de votre participation!</vt:lpstr>
      <vt:lpstr>RECYCLAGE DU PAPIER Veuillez séparer le papier des autres matériaux (c’est-à-dire le plastique et le métal). Tous les documents sécurisés ayant dépassé leur période de conservation doivent être déchiquetés.   Merci de votre participation!</vt:lpstr>
      <vt:lpstr>FOURNITURES DE BUREAU Déposer les fournitures de bureau excédentaires dans les boîtes prévues à cet effet. Cela comprend les stylos, les cahiers, les agrafeuses, les règles, les ciseaux, les classeurs ou toute autre fourniture de bureau pouvant être utilisés.   Merci de votre participation!</vt:lpstr>
      <vt:lpstr>MOBILIER EXCÉDENTAIRE À l’aide des étiquettes fournies, apposer la mention  « excédentaire » sur tous les meubles brisés et inutilisés.   Merci de votre participation!</vt:lpstr>
      <vt:lpstr>ÉQUIPEMENT DE TI L’équipement de TI et les périphériques excédentaires doivent  être placés ici pour être retournés à l’équipe de la TI.  Merci de votre participation!</vt:lpstr>
      <vt:lpstr>BIENS CONSERVÉS Tous les biens opérationnels et identifiés pour conservation. Veuillez étiqueter le matériel selon les directives fournies dans votre guide.   Merci de votre participation!</vt:lpstr>
      <vt:lpstr>DÉSINFECTION Veuillez utiliser le matériel de désinfection fourni pour nettoyer toutes les surfaces de contact. De l’EPI est également fourni, veuillez le porter conformément aux recommandations.  Merci de votre participation!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eader Package</dc:title>
  <dc:creator>Louise Hamelin-Yavo</dc:creator>
  <cp:lastModifiedBy>Sophie Genereux</cp:lastModifiedBy>
  <cp:revision>73</cp:revision>
  <dcterms:created xsi:type="dcterms:W3CDTF">2016-09-22T13:56:19Z</dcterms:created>
  <dcterms:modified xsi:type="dcterms:W3CDTF">2022-07-11T18:15:36Z</dcterms:modified>
</cp:coreProperties>
</file>